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80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C05769-9029-4EFF-95B5-7AFEACC125E5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FDF356-5BAC-4AA8-87FA-FC02F28A94B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213654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12096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480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8973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5842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945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86062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293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828498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Copy contact 1">
            <a:extLst>
              <a:ext uri="{FF2B5EF4-FFF2-40B4-BE49-F238E27FC236}">
                <a16:creationId xmlns:a16="http://schemas.microsoft.com/office/drawing/2014/main" id="{0A59EBCF-4BD8-4C66-D167-6C4BCADF83F8}"/>
              </a:ext>
            </a:extLst>
          </p:cNvPr>
          <p:cNvSpPr>
            <a:spLocks/>
          </p:cNvSpPr>
          <p:nvPr/>
        </p:nvSpPr>
        <p:spPr bwMode="gray">
          <a:xfrm>
            <a:off x="419100" y="3734480"/>
            <a:ext cx="2577579" cy="184665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1}</a:t>
            </a:r>
          </a:p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1_position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_department}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</a:b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联系方式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电话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_phone_number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手机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_mobile_number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E-mail </a:t>
            </a: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_email}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Rectangle 90">
            <a:extLst>
              <a:ext uri="{FF2B5EF4-FFF2-40B4-BE49-F238E27FC236}">
                <a16:creationId xmlns:a16="http://schemas.microsoft.com/office/drawing/2014/main" id="{120FD511-8357-B1AB-7554-60646800F0B8}"/>
              </a:ext>
            </a:extLst>
          </p:cNvPr>
          <p:cNvSpPr>
            <a:spLocks/>
          </p:cNvSpPr>
          <p:nvPr/>
        </p:nvSpPr>
        <p:spPr bwMode="auto">
          <a:xfrm>
            <a:off x="9231834" y="1574481"/>
            <a:ext cx="2577579" cy="180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9" name="Rectangle 90">
            <a:extLst>
              <a:ext uri="{FF2B5EF4-FFF2-40B4-BE49-F238E27FC236}">
                <a16:creationId xmlns:a16="http://schemas.microsoft.com/office/drawing/2014/main" id="{23A78363-DE2F-72C7-F912-22BD3099C2AA}"/>
              </a:ext>
            </a:extLst>
          </p:cNvPr>
          <p:cNvSpPr>
            <a:spLocks/>
          </p:cNvSpPr>
          <p:nvPr/>
        </p:nvSpPr>
        <p:spPr bwMode="auto">
          <a:xfrm>
            <a:off x="6294256" y="1574481"/>
            <a:ext cx="2577579" cy="180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11" name="Rectangle 90">
            <a:extLst>
              <a:ext uri="{FF2B5EF4-FFF2-40B4-BE49-F238E27FC236}">
                <a16:creationId xmlns:a16="http://schemas.microsoft.com/office/drawing/2014/main" id="{94842259-C811-845D-F3CA-17B8403CE7C9}"/>
              </a:ext>
            </a:extLst>
          </p:cNvPr>
          <p:cNvSpPr>
            <a:spLocks/>
          </p:cNvSpPr>
          <p:nvPr/>
        </p:nvSpPr>
        <p:spPr bwMode="auto">
          <a:xfrm>
            <a:off x="3356677" y="1574481"/>
            <a:ext cx="2577579" cy="180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12" name="Rectangle 90">
            <a:extLst>
              <a:ext uri="{FF2B5EF4-FFF2-40B4-BE49-F238E27FC236}">
                <a16:creationId xmlns:a16="http://schemas.microsoft.com/office/drawing/2014/main" id="{7287C762-44E5-5BA6-091F-E5D4080E0E85}"/>
              </a:ext>
            </a:extLst>
          </p:cNvPr>
          <p:cNvSpPr>
            <a:spLocks/>
          </p:cNvSpPr>
          <p:nvPr/>
        </p:nvSpPr>
        <p:spPr bwMode="auto">
          <a:xfrm>
            <a:off x="419099" y="1574481"/>
            <a:ext cx="2577579" cy="180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189470FC-C28E-FAC9-A17A-1BA9FBB2130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2623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ember, intro, intros, introduction, introductions</a:t>
            </a:r>
          </a:p>
        </p:txBody>
      </p:sp>
      <p:sp>
        <p:nvSpPr>
          <p:cNvPr id="13" name="Copy contact 1">
            <a:extLst>
              <a:ext uri="{FF2B5EF4-FFF2-40B4-BE49-F238E27FC236}">
                <a16:creationId xmlns:a16="http://schemas.microsoft.com/office/drawing/2014/main" id="{CD3CD8B9-2428-4080-8B44-E08690354691}"/>
              </a:ext>
            </a:extLst>
          </p:cNvPr>
          <p:cNvSpPr>
            <a:spLocks/>
          </p:cNvSpPr>
          <p:nvPr/>
        </p:nvSpPr>
        <p:spPr bwMode="gray">
          <a:xfrm>
            <a:off x="3320166" y="3734479"/>
            <a:ext cx="2577579" cy="184665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1}</a:t>
            </a:r>
          </a:p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1_position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_department}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</a:b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联系方式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电话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_phone_number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手机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_mobile_number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E-mail </a:t>
            </a: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_email}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5" name="Copy contact 1">
            <a:extLst>
              <a:ext uri="{FF2B5EF4-FFF2-40B4-BE49-F238E27FC236}">
                <a16:creationId xmlns:a16="http://schemas.microsoft.com/office/drawing/2014/main" id="{9CBAF470-F60C-4434-83AA-B9C2F81E7F34}"/>
              </a:ext>
            </a:extLst>
          </p:cNvPr>
          <p:cNvSpPr>
            <a:spLocks/>
          </p:cNvSpPr>
          <p:nvPr/>
        </p:nvSpPr>
        <p:spPr bwMode="gray">
          <a:xfrm>
            <a:off x="6294256" y="3734478"/>
            <a:ext cx="2577579" cy="184665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1}</a:t>
            </a:r>
          </a:p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1_position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_department}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</a:b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联系方式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电话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_phone_number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手机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_mobile_number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E-mail </a:t>
            </a: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_email}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6" name="Copy contact 1">
            <a:extLst>
              <a:ext uri="{FF2B5EF4-FFF2-40B4-BE49-F238E27FC236}">
                <a16:creationId xmlns:a16="http://schemas.microsoft.com/office/drawing/2014/main" id="{2DE0E43B-00D3-4E7F-B443-615D3DD8444F}"/>
              </a:ext>
            </a:extLst>
          </p:cNvPr>
          <p:cNvSpPr>
            <a:spLocks/>
          </p:cNvSpPr>
          <p:nvPr/>
        </p:nvSpPr>
        <p:spPr bwMode="gray">
          <a:xfrm>
            <a:off x="9201610" y="3734478"/>
            <a:ext cx="2577579" cy="184665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1}</a:t>
            </a:r>
          </a:p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1_position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_department}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</a:b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联系方式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电话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_phone_number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手机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_mobile_number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1AAA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E-mail </a:t>
            </a: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_email}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47782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8</Words>
  <Application>Microsoft Office PowerPoint</Application>
  <PresentationFormat>宽屏</PresentationFormat>
  <Paragraphs>3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Arial Unicode MS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8T09:41:21Z</dcterms:created>
  <dcterms:modified xsi:type="dcterms:W3CDTF">2025-09-08T09:41:26Z</dcterms:modified>
</cp:coreProperties>
</file>